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12.xml" ContentType="application/vnd.openxmlformats-officedocument.presentationml.slide+xml"/>
  <Override PartName="/ppt/tags/tag381.xml" ContentType="application/vnd.openxmlformats-officedocument.presentationml.tags+xml"/>
  <Override PartName="/ppt/tags/tag386.xml" ContentType="application/vnd.openxmlformats-officedocument.presentationml.tags+xml"/>
  <Override PartName="/ppt/notesSlides/notesSlide112.xml" ContentType="application/vnd.openxmlformats-officedocument.presentationml.notesSlide+xml"/>
  <Override PartName="/ppt/tags/tag376.xml" ContentType="application/vnd.openxmlformats-officedocument.presentationml.tags+xml"/>
  <Override PartName="/ppt/tags/tag380.xml" ContentType="application/vnd.openxmlformats-officedocument.presentationml.tags+xml"/>
  <Override PartName="/ppt/tags/tag38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75.xml" ContentType="application/vnd.openxmlformats-officedocument.presentationml.tags+xml"/>
  <Override PartName="/ppt/tags/tag389.xml" ContentType="application/vnd.openxmlformats-officedocument.presentationml.tags+xml"/>
  <Override PartName="/ppt/tags/tag379.xml" ContentType="application/vnd.openxmlformats-officedocument.presentationml.tags+xml"/>
  <Override PartName="/ppt/tags/tag384.xml" ContentType="application/vnd.openxmlformats-officedocument.presentationml.tags+xml"/>
  <Override PartName="/ppt/tags/tag378.xml" ContentType="application/vnd.openxmlformats-officedocument.presentationml.tags+xml"/>
  <Override PartName="/ppt/tags/tag388.xml" ContentType="application/vnd.openxmlformats-officedocument.presentationml.tags+xml"/>
  <Override PartName="/ppt/tags/tag383.xml" ContentType="application/vnd.openxmlformats-officedocument.presentationml.tags+xml"/>
  <Override PartName="/ppt/tags/tag377.xml" ContentType="application/vnd.openxmlformats-officedocument.presentationml.tags+xml"/>
  <Override PartName="/ppt/tags/tag382.xml" ContentType="application/vnd.openxmlformats-officedocument.presentationml.tags+xml"/>
  <Override PartName="/ppt/tags/tag387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1" r:id="rId11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12.xml" Id="rId11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2.xml.rels>&#65279;<?xml version="1.0" encoding="utf-8"?><Relationships xmlns="http://schemas.openxmlformats.org/package/2006/relationships"><Relationship Type="http://schemas.openxmlformats.org/officeDocument/2006/relationships/slide" Target="/ppt/slides/slide112.xml" Id="rId2" /><Relationship Type="http://schemas.openxmlformats.org/officeDocument/2006/relationships/notesMaster" Target="/ppt/notesMasters/notesMaster1.xml" Id="rId1" /></Relationship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17462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2.xml.rels>&#65279;<?xml version="1.0" encoding="utf-8"?><Relationships xmlns="http://schemas.openxmlformats.org/package/2006/relationships"><Relationship Type="http://schemas.openxmlformats.org/officeDocument/2006/relationships/tags" Target="/ppt/tags/tag381.xml" Id="rId8" /><Relationship Type="http://schemas.openxmlformats.org/officeDocument/2006/relationships/tags" Target="/ppt/tags/tag386.xml" Id="rId13" /><Relationship Type="http://schemas.openxmlformats.org/officeDocument/2006/relationships/notesSlide" Target="/ppt/notesSlides/notesSlide112.xml" Id="rId18" /><Relationship Type="http://schemas.openxmlformats.org/officeDocument/2006/relationships/tags" Target="/ppt/tags/tag376.xml" Id="rId3" /><Relationship Type="http://schemas.openxmlformats.org/officeDocument/2006/relationships/tags" Target="/ppt/tags/tag380.xml" Id="rId7" /><Relationship Type="http://schemas.openxmlformats.org/officeDocument/2006/relationships/tags" Target="/ppt/tags/tag385.xml" Id="rId12" /><Relationship Type="http://schemas.openxmlformats.org/officeDocument/2006/relationships/slideLayout" Target="/ppt/slideLayouts/slideLayout5.xml" Id="rId17" /><Relationship Type="http://schemas.openxmlformats.org/officeDocument/2006/relationships/tags" Target="/ppt/tags/tag375.xml" Id="rId2" /><Relationship Type="http://schemas.openxmlformats.org/officeDocument/2006/relationships/tags" Target="/ppt/tags/tag389.xml" Id="rId16" /><Relationship Type="http://schemas.openxmlformats.org/officeDocument/2006/relationships/image" Target="/ppt/media/image4.emf" Id="rId20" /><Relationship Type="http://schemas.openxmlformats.org/officeDocument/2006/relationships/vmlDrawing" Target="/ppt/drawings/vmlDrawing116.vml" Id="rId1" /><Relationship Type="http://schemas.openxmlformats.org/officeDocument/2006/relationships/tags" Target="/ppt/tags/tag379.xml" Id="rId6" /><Relationship Type="http://schemas.openxmlformats.org/officeDocument/2006/relationships/tags" Target="/ppt/tags/tag384.xml" Id="rId11" /><Relationship Type="http://schemas.openxmlformats.org/officeDocument/2006/relationships/tags" Target="/ppt/tags/tag378.xml" Id="rId5" /><Relationship Type="http://schemas.openxmlformats.org/officeDocument/2006/relationships/tags" Target="/ppt/tags/tag388.xml" Id="rId15" /><Relationship Type="http://schemas.openxmlformats.org/officeDocument/2006/relationships/tags" Target="/ppt/tags/tag383.xml" Id="rId10" /><Relationship Type="http://schemas.openxmlformats.org/officeDocument/2006/relationships/oleObject" Target="/ppt/embeddings/oleObject116.bin" Id="rId19" /><Relationship Type="http://schemas.openxmlformats.org/officeDocument/2006/relationships/tags" Target="/ppt/tags/tag377.xml" Id="rId4" /><Relationship Type="http://schemas.openxmlformats.org/officeDocument/2006/relationships/tags" Target="/ppt/tags/tag382.xml" Id="rId9" /><Relationship Type="http://schemas.openxmlformats.org/officeDocument/2006/relationships/tags" Target="/ppt/tags/tag387.xml" Id="rId14" /></Relationships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9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3" name="think-cell 幻灯片" r:id="rId19" imgW="349" imgH="350" progId="TCLayout.ActiveDocument.1">
                  <p:embed/>
                </p:oleObj>
              </mc:Choice>
              <mc:Fallback>
                <p:oleObj name="think-cell 幻灯片" r:id="rId1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our circular elements</a:t>
            </a:r>
          </a:p>
        </p:txBody>
      </p: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EB0C9CD8-F3C3-6977-4B2A-52C75FEF941A}"/>
              </a:ext>
            </a:extLst>
          </p:cNvPr>
          <p:cNvCxnSpPr>
            <a:cxnSpLocks/>
          </p:cNvCxnSpPr>
          <p:nvPr/>
        </p:nvCxnSpPr>
        <p:spPr bwMode="gray">
          <a:xfrm>
            <a:off x="425450" y="4312052"/>
            <a:ext cx="39987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22">
            <a:extLst>
              <a:ext uri="{FF2B5EF4-FFF2-40B4-BE49-F238E27FC236}">
                <a16:creationId xmlns:a16="http://schemas.microsoft.com/office/drawing/2014/main" id="{0E163E96-FB82-932B-5A18-0BB33DE74F46}"/>
              </a:ext>
            </a:extLst>
          </p:cNvPr>
          <p:cNvCxnSpPr>
            <a:cxnSpLocks/>
          </p:cNvCxnSpPr>
          <p:nvPr/>
        </p:nvCxnSpPr>
        <p:spPr bwMode="gray">
          <a:xfrm>
            <a:off x="425450" y="2061004"/>
            <a:ext cx="492494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109CC06D-B5FC-6837-2F6C-0DD74E7F21E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24163" y="1711302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cxnSp>
        <p:nvCxnSpPr>
          <p:cNvPr id="7" name="Gerade Verbindung 22">
            <a:extLst>
              <a:ext uri="{FF2B5EF4-FFF2-40B4-BE49-F238E27FC236}">
                <a16:creationId xmlns:a16="http://schemas.microsoft.com/office/drawing/2014/main" id="{6BD952FB-664C-74AD-45D4-1B5FE1F7813C}"/>
              </a:ext>
            </a:extLst>
          </p:cNvPr>
          <p:cNvCxnSpPr>
            <a:cxnSpLocks/>
          </p:cNvCxnSpPr>
          <p:nvPr/>
        </p:nvCxnSpPr>
        <p:spPr bwMode="gray">
          <a:xfrm>
            <a:off x="6374351" y="2061004"/>
            <a:ext cx="543258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2">
            <a:extLst>
              <a:ext uri="{FF2B5EF4-FFF2-40B4-BE49-F238E27FC236}">
                <a16:creationId xmlns:a16="http://schemas.microsoft.com/office/drawing/2014/main" id="{2E6C3FC1-0E1E-0E8C-0914-2C8C01D2CF19}"/>
              </a:ext>
            </a:extLst>
          </p:cNvPr>
          <p:cNvCxnSpPr>
            <a:cxnSpLocks/>
          </p:cNvCxnSpPr>
          <p:nvPr/>
        </p:nvCxnSpPr>
        <p:spPr bwMode="gray">
          <a:xfrm>
            <a:off x="7665998" y="4312052"/>
            <a:ext cx="4140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A37F9F26-250C-3386-A536-C62A3E22141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7654" y="3962350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2" name="Oval 52">
            <a:extLst>
              <a:ext uri="{FF2B5EF4-FFF2-40B4-BE49-F238E27FC236}">
                <a16:creationId xmlns:a16="http://schemas.microsoft.com/office/drawing/2014/main" id="{A284F34C-30EA-41FD-C96C-592366813DD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195762" y="1727313"/>
            <a:ext cx="3805238" cy="3803648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0E376283-2B80-834C-B522-A75C0AB1D99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343964" y="1711302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CDB2F02-C163-6BD4-E88D-59731BC8D8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8343964" y="3962350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grpSp>
        <p:nvGrpSpPr>
          <p:cNvPr id="15" name="Group 83">
            <a:extLst>
              <a:ext uri="{FF2B5EF4-FFF2-40B4-BE49-F238E27FC236}">
                <a16:creationId xmlns:a16="http://schemas.microsoft.com/office/drawing/2014/main" id="{165956A8-9149-93EF-232F-FA8F1F229414}"/>
              </a:ext>
            </a:extLst>
          </p:cNvPr>
          <p:cNvGrpSpPr>
            <a:grpSpLocks/>
          </p:cNvGrpSpPr>
          <p:nvPr/>
        </p:nvGrpSpPr>
        <p:grpSpPr bwMode="auto">
          <a:xfrm>
            <a:off x="4273362" y="1811758"/>
            <a:ext cx="3650038" cy="3650038"/>
            <a:chOff x="3577" y="1695"/>
            <a:chExt cx="907" cy="907"/>
          </a:xfrm>
          <a:solidFill>
            <a:schemeClr val="bg2"/>
          </a:solidFill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0D40380D-E6C7-EA9B-5B89-D5AF11AF737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61A6D490-450A-AC15-5F29-ED8A8EC4C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7E776592-BA71-5D0C-A139-D5B71146FCA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1EB5C5CA-EF05-9CDE-BBC5-E76AC5D7348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Rechteck 21">
            <a:extLst>
              <a:ext uri="{FF2B5EF4-FFF2-40B4-BE49-F238E27FC236}">
                <a16:creationId xmlns:a16="http://schemas.microsoft.com/office/drawing/2014/main" id="{CC4DC3FD-9CBB-CBC8-21CD-8F407C2607F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 flipH="1">
            <a:off x="424163" y="2061004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21" name="Rechteck 22">
            <a:extLst>
              <a:ext uri="{FF2B5EF4-FFF2-40B4-BE49-F238E27FC236}">
                <a16:creationId xmlns:a16="http://schemas.microsoft.com/office/drawing/2014/main" id="{0EE2A3F6-1A94-7787-CDB6-7D15B762A7B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 flipH="1">
            <a:off x="8343964" y="2061004"/>
            <a:ext cx="346703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22" name="Rechteck 23">
            <a:extLst>
              <a:ext uri="{FF2B5EF4-FFF2-40B4-BE49-F238E27FC236}">
                <a16:creationId xmlns:a16="http://schemas.microsoft.com/office/drawing/2014/main" id="{B34A361A-CBCB-B0AE-8C2A-D7D1C3E105F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 flipH="1">
            <a:off x="427654" y="4312052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23" name="Rechteck 24">
            <a:extLst>
              <a:ext uri="{FF2B5EF4-FFF2-40B4-BE49-F238E27FC236}">
                <a16:creationId xmlns:a16="http://schemas.microsoft.com/office/drawing/2014/main" id="{54AA4059-1C23-D1B9-474C-D35FD5F5EAD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 flipH="1">
            <a:off x="8343964" y="4312052"/>
            <a:ext cx="346703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BC3225CC-BAE1-E415-D135-77E22452D8D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 rot="18900000">
            <a:off x="4576762" y="2115478"/>
            <a:ext cx="3043238" cy="304643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B0302297-1986-6FB9-3392-B29F3CB15A7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 rot="2700000">
            <a:off x="4576762" y="2115477"/>
            <a:ext cx="3043238" cy="304643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731D4845-3F63-69CA-7705-18E62293314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 rot="2700000">
            <a:off x="4576763" y="2115477"/>
            <a:ext cx="3043238" cy="304643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70C066FE-623A-B4B3-69DD-03D4FDF9440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 rot="18900000">
            <a:off x="4576763" y="2115477"/>
            <a:ext cx="3043238" cy="304643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8" name="Oval 52">
            <a:extLst>
              <a:ext uri="{FF2B5EF4-FFF2-40B4-BE49-F238E27FC236}">
                <a16:creationId xmlns:a16="http://schemas.microsoft.com/office/drawing/2014/main" id="{D7746C0C-0F81-D63A-EBF3-28E0A9F35EDF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935733" y="2466975"/>
            <a:ext cx="2325296" cy="2324324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Insert desire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text her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B8807A6B-5C1D-3A06-37FF-8337C9834FA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6575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2199601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3bj86n0RK9BmMj2IsukqK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bj86n0RK9BmMj2IsukqKADRGF0YQAWAAAAAlBlcnNvbmFsSWQAAQAAAAAAAk5hbWUACwAAAFBlcnNvbmFsSWQAEFZlcnNpb24AAAAAAAlMYXN0V3JpdGUAmdE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7592033"/>
  <p:tag name="EMPOWERCHARTSPROPERTIES_A_LENGTH" val="24576"/>
  <p:tag name="RUNTIME_ID" val="2dfe3581-0488-41d4-9bd9-075d554985cc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1i52rWL3AlGsXtK4+laQT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i52rWL3AlGsXtK4+laQT8DRGF0YQAWAAAAAlBlcnNvbmFsSWQAAQAAAAAAAk5hbWUACwAAAFBlcnNvbmFsSWQAEFZlcnNpb24AAAAAAAlMYXN0V3JpdGUANt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7904406"/>
  <p:tag name="EMPOWERCHARTSPROPERTIES_A_LENGTH" val="24576"/>
  <p:tag name="RUNTIME_ID" val="47d15b71-3438-46ba-b944-c2cff7a002f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zthRhV/Q1Ovubl6Y1fBS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zthRhV/Q1Ovubl6Y1fBSkDRGF0YQAWAAAAAlBlcnNvbmFsSWQAAQAAAAAAAk5hbWUACwAAAFBlcnNvbmFsSWQAEFZlcnNpb24AAAAAAAlMYXN0V3JpdGUAVt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8222491"/>
  <p:tag name="EMPOWERCHARTSPROPERTIES_A_LENGTH" val="24576"/>
  <p:tag name="RUNTIME_ID" val="215d883d-b8c8-4df0-90c0-7330cb1818cf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rWTr5yKKVHqWd7NPkf5I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rWTr5yKKVHqWd7NPkf5I8DRGF0YQAWAAAAAlBlcnNvbmFsSWQAAQAAAAAAAk5hbWUACwAAAFBlcnNvbmFsSWQAEFZlcnNpb24AAAAAAAlMYXN0V3JpdGUAdd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8846944"/>
  <p:tag name="EMPOWERCHARTSPROPERTIES_A_LENGTH" val="24576"/>
  <p:tag name="RUNTIME_ID" val="acd1f566-f85a-41e7-9de4-46d854e02393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ZERhTXl7lOnjc+kC0cum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ZERhTXl7lOnjc+kC0cumMDRGF0YQAWAAAAAlBlcnNvbmFsSWQAAQAAAAAAAk5hbWUACwAAAFBlcnNvbmFsSWQAEFZlcnNpb24AAAAAAAlMYXN0V3JpdGUAtN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9165678"/>
  <p:tag name="EMPOWERCHARTSPROPERTIES_A_LENGTH" val="24576"/>
  <p:tag name="RUNTIME_ID" val="cb6f9898-12ef-4871-97c9-d6ab633b643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Mi/KGaIcBFrkbSP977Ek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Mi/KGaIcBFrkbSP977Ek0DRGF0YQAWAAAAAlBlcnNvbmFsSWQAAQAAAAAAAk5hbWUACwAAAFBlcnNvbmFsSWQAEFZlcnNpb24AAAAAAAlMYXN0V3JpdGUA1N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9478596"/>
  <p:tag name="EMPOWERCHARTSPROPERTIES_A_LENGTH" val="24576"/>
  <p:tag name="RUNTIME_ID" val="9c5da784-e67f-4146-920a-7dbd35dede6f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zaZXvHxtVNgev6FojgMBg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zaZXvHxtVNgev6FojgMBgDRGF0YQAWAAAAAlBlcnNvbmFsSWQAAQAAAAAAAk5hbWUACwAAAFBlcnNvbmFsSWQAEFZlcnNpb24AAAAAAAlMYXN0V3JpdGUA89I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69791113"/>
  <p:tag name="EMPOWERCHARTSPROPERTIES_A_LENGTH" val="24576"/>
  <p:tag name="RUNTIME_ID" val="35c687ec-cccd-415c-a5df-aa1b9feab11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9bz6KSX69lJryjnxXs7a1s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bz6KSX69lJryjnxXs7a1sDRGF0YQAWAAAAAlBlcnNvbmFsSWQAAQAAAAAAAk5hbWUACwAAAFBlcnNvbmFsSWQAEFZlcnNpb24AAAAAAAlMYXN0V3JpdGUAHd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0266990"/>
  <p:tag name="EMPOWERCHARTSPROPERTIES_A_LENGTH" val="24576"/>
  <p:tag name="RUNTIME_ID" val="b7bb16c0-7afe-4101-a218-fe973a7f27f6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FtL3rTdXRApXDvtYLll9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FtL3rTdXRApXDvtYLll9QDRGF0YQAWAAAAAlBlcnNvbmFsSWQAAQAAAAAAAk5hbWUACwAAAFBlcnNvbmFsSWQAEFZlcnNpb24AAAAAAAlMYXN0V3JpdGUAQt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0579324"/>
  <p:tag name="EMPOWERCHARTSPROPERTIES_A_LENGTH" val="24576"/>
  <p:tag name="RUNTIME_ID" val="c6a9f8b2-4982-4975-b246-540ad7f1242b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7KMYBAGa6BAviNNhevxQD8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KMYBAGa6BAviNNhevxQD8DRGF0YQAWAAAAAlBlcnNvbmFsSWQAAQAAAAAAAk5hbWUACwAAAFBlcnNvbmFsSWQAEFZlcnNpb24AAAAAAAlMYXN0V3JpdGUAYd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1053790"/>
  <p:tag name="EMPOWERCHARTSPROPERTIES_A_LENGTH" val="24576"/>
  <p:tag name="RUNTIME_ID" val="dfde1ce7-2bc9-4483-a2fb-804790f18476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0MK4CvOhUhFr7YVMKt/Nq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MK4CvOhUhFr7YVMKt/NqQDRGF0YQAWAAAAAlBlcnNvbmFsSWQAAQAAAAAAAk5hbWUACwAAAFBlcnNvbmFsSWQAEFZlcnNpb24AAAAAAAlMYXN0V3JpdGUAkN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1365943"/>
  <p:tag name="EMPOWERCHARTSPROPERTIES_A_LENGTH" val="24576"/>
  <p:tag name="RUNTIME_ID" val="d3089097-dcdc-471f-910c-4b5ce0388b63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IcYGSPRzdIj0yZprzgV3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IcYGSPRzdIj0yZprzgV3QDRGF0YQAWAAAAAlBlcnNvbmFsSWQAAQAAAAAAAk5hbWUACwAAAFBlcnNvbmFsSWQAEFZlcnNpb24AAAAAAAlMYXN0V3JpdGUAv9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1835942"/>
  <p:tag name="EMPOWERCHARTSPROPERTIES_A_LENGTH" val="24576"/>
  <p:tag name="RUNTIME_ID" val="dc46c589-3f86-4184-b9fd-a4d97c7d80d8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rfwl47wcFLmivac5MTSM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rfwl47wcFLmivac5MTSMoDRGF0YQAWAAAAAlBlcnNvbmFsSWQAAQAAAAAAAk5hbWUACwAAAFBlcnNvbmFsSWQAEFZlcnNpb24AAAAAAAlMYXN0V3JpdGUA5dM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2326209"/>
  <p:tag name="EMPOWERCHARTSPROPERTIES_A_LENGTH" val="24576"/>
  <p:tag name="RUNTIME_ID" val="bd56ab20-c094-4daf-a94d-88c50eb80645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EAAAAAAAAAAwAAAAMAAAAA/////wMARAwAAAAAAAAAAAAAIAD///////////////8AAAD////////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9wb4qr0GNZGsXtz1ZqqH70FAAAAAAADAAAAAAADAAAAAQA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wb4qr0GNZGsXtz1ZqqH70DRGF0YQAWAAAAAlBlcnNvbmFsSWQAAQAAAAAAAk5hbWUACwAAAFBlcnNvbmFsSWQAEFZlcnNpb24AAAAAAAlMYXN0V3JpdGUAANQn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6872629546"/>
  <p:tag name="EMPOWERCHARTSPROPERTIES_A_LENGTH" val="24576"/>
  <p:tag name="RUNTIME_ID" val="4e80920f-6e12-444e-bc1f-9c4d762b1bb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